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</p:sldIdLst>
  <p:sldSz cx="9144000" cy="6858000" type="screen4x3"/>
  <p:notesSz cx="6858000" cy="9144000"/>
  <p:custDataLst>
    <p:tags r:id="rId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18" autoAdjust="0"/>
    <p:restoredTop sz="94660"/>
  </p:normalViewPr>
  <p:slideViewPr>
    <p:cSldViewPr snapToGrid="0">
      <p:cViewPr varScale="1">
        <p:scale>
          <a:sx n="107" d="100"/>
          <a:sy n="107" d="100"/>
        </p:scale>
        <p:origin x="888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473FCD-A540-468B-83EF-91264465C861}" type="datetimeFigureOut">
              <a:rPr lang="de-CH" smtClean="0"/>
              <a:t>29.11.2019</a:t>
            </a:fld>
            <a:endParaRPr lang="de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3933F8-DA66-4517-B41C-367C0116F859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669651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473FCD-A540-468B-83EF-91264465C861}" type="datetimeFigureOut">
              <a:rPr lang="de-CH" smtClean="0"/>
              <a:t>29.11.2019</a:t>
            </a:fld>
            <a:endParaRPr lang="de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3933F8-DA66-4517-B41C-367C0116F859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607288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473FCD-A540-468B-83EF-91264465C861}" type="datetimeFigureOut">
              <a:rPr lang="de-CH" smtClean="0"/>
              <a:t>29.11.2019</a:t>
            </a:fld>
            <a:endParaRPr lang="de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3933F8-DA66-4517-B41C-367C0116F859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46839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473FCD-A540-468B-83EF-91264465C861}" type="datetimeFigureOut">
              <a:rPr lang="de-CH" smtClean="0"/>
              <a:t>29.11.2019</a:t>
            </a:fld>
            <a:endParaRPr lang="de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3933F8-DA66-4517-B41C-367C0116F859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389412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473FCD-A540-468B-83EF-91264465C861}" type="datetimeFigureOut">
              <a:rPr lang="de-CH" smtClean="0"/>
              <a:t>29.11.2019</a:t>
            </a:fld>
            <a:endParaRPr lang="de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3933F8-DA66-4517-B41C-367C0116F859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188942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473FCD-A540-468B-83EF-91264465C861}" type="datetimeFigureOut">
              <a:rPr lang="de-CH" smtClean="0"/>
              <a:t>29.11.2019</a:t>
            </a:fld>
            <a:endParaRPr lang="de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3933F8-DA66-4517-B41C-367C0116F859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981550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473FCD-A540-468B-83EF-91264465C861}" type="datetimeFigureOut">
              <a:rPr lang="de-CH" smtClean="0"/>
              <a:t>29.11.2019</a:t>
            </a:fld>
            <a:endParaRPr lang="de-CH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3933F8-DA66-4517-B41C-367C0116F859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047562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473FCD-A540-468B-83EF-91264465C861}" type="datetimeFigureOut">
              <a:rPr lang="de-CH" smtClean="0"/>
              <a:t>29.11.2019</a:t>
            </a:fld>
            <a:endParaRPr lang="de-CH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3933F8-DA66-4517-B41C-367C0116F859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036363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473FCD-A540-468B-83EF-91264465C861}" type="datetimeFigureOut">
              <a:rPr lang="de-CH" smtClean="0"/>
              <a:t>29.11.2019</a:t>
            </a:fld>
            <a:endParaRPr lang="de-CH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3933F8-DA66-4517-B41C-367C0116F859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25428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473FCD-A540-468B-83EF-91264465C861}" type="datetimeFigureOut">
              <a:rPr lang="de-CH" smtClean="0"/>
              <a:t>29.11.2019</a:t>
            </a:fld>
            <a:endParaRPr lang="de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3933F8-DA66-4517-B41C-367C0116F859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28152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473FCD-A540-468B-83EF-91264465C861}" type="datetimeFigureOut">
              <a:rPr lang="de-CH" smtClean="0"/>
              <a:t>29.11.2019</a:t>
            </a:fld>
            <a:endParaRPr lang="de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3933F8-DA66-4517-B41C-367C0116F859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47740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473FCD-A540-468B-83EF-91264465C861}" type="datetimeFigureOut">
              <a:rPr lang="de-CH" smtClean="0"/>
              <a:t>29.11.2019</a:t>
            </a:fld>
            <a:endParaRPr lang="de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3933F8-DA66-4517-B41C-367C0116F859}" type="slidenum">
              <a:rPr lang="de-CH" smtClean="0"/>
              <a:t>‹#›</a:t>
            </a:fld>
            <a:endParaRPr lang="de-CH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22777538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6" imgW="526" imgH="526" progId="TCLayout.ActiveDocument.1">
                  <p:embed/>
                </p:oleObj>
              </mc:Choice>
              <mc:Fallback>
                <p:oleObj name="think-cell Slide" r:id="rId16" imgW="526" imgH="52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07153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4093855"/>
              </p:ext>
            </p:extLst>
          </p:nvPr>
        </p:nvGraphicFramePr>
        <p:xfrm>
          <a:off x="-1522412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1522412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23179"/>
            <a:ext cx="9022488" cy="6367625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 rot="16200000">
            <a:off x="-1984078" y="2880664"/>
            <a:ext cx="4491376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PS Peak Frequency [Hz]</a:t>
            </a:r>
            <a:endParaRPr lang="de-CH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431565" y="6150336"/>
            <a:ext cx="4491376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lative Position [mm]</a:t>
            </a:r>
            <a:endParaRPr lang="de-CH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7754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VAu1ZruGeuAxFP15Bt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1</Words>
  <Application>Microsoft Office PowerPoint</Application>
  <PresentationFormat>On-screen Show (4:3)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Light</vt:lpstr>
      <vt:lpstr>Times New Roman</vt:lpstr>
      <vt:lpstr>Office Theme</vt:lpstr>
      <vt:lpstr>think-cell Slide</vt:lpstr>
      <vt:lpstr>PowerPoint Presentation</vt:lpstr>
    </vt:vector>
  </TitlesOfParts>
  <Company>ETH Zueric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ering  Christoph</dc:creator>
  <cp:lastModifiedBy>Goering  Christoph</cp:lastModifiedBy>
  <cp:revision>1</cp:revision>
  <dcterms:created xsi:type="dcterms:W3CDTF">2019-11-29T18:49:54Z</dcterms:created>
  <dcterms:modified xsi:type="dcterms:W3CDTF">2019-11-29T18:52:40Z</dcterms:modified>
</cp:coreProperties>
</file>